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  <p:sldMasterId id="2147483711" r:id="rId5"/>
  </p:sldMasterIdLst>
  <p:notesMasterIdLst>
    <p:notesMasterId r:id="rId8"/>
  </p:notesMasterIdLst>
  <p:sldIdLst>
    <p:sldId id="391" r:id="rId6"/>
    <p:sldId id="392" r:id="rId7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38">
          <p15:clr>
            <a:srgbClr val="A4A3A4"/>
          </p15:clr>
        </p15:guide>
        <p15:guide id="2" orient="horz" pos="3975">
          <p15:clr>
            <a:srgbClr val="A4A3A4"/>
          </p15:clr>
        </p15:guide>
        <p15:guide id="3" pos="255">
          <p15:clr>
            <a:srgbClr val="A4A3A4"/>
          </p15:clr>
        </p15:guide>
        <p15:guide id="4" pos="7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Weatherly" initials="MW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562" autoAdjust="0"/>
    <p:restoredTop sz="92372" autoAdjust="0"/>
  </p:normalViewPr>
  <p:slideViewPr>
    <p:cSldViewPr snapToGrid="0">
      <p:cViewPr varScale="1">
        <p:scale>
          <a:sx n="237" d="100"/>
          <a:sy n="237" d="100"/>
        </p:scale>
        <p:origin x="792" y="184"/>
      </p:cViewPr>
      <p:guideLst>
        <p:guide orient="horz" pos="838"/>
        <p:guide orient="horz" pos="3975"/>
        <p:guide pos="255"/>
        <p:guide pos="742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285" y="62"/>
      </p:cViewPr>
      <p:guideLst/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300"/>
            </a:lvl1pPr>
          </a:lstStyle>
          <a:p>
            <a:fld id="{D2149D15-C568-40D2-9C2C-382CA4AD0C81}" type="datetimeFigureOut">
              <a:rPr lang="en-US" smtClean="0">
                <a:latin typeface="Segoe UI"/>
              </a:rPr>
              <a:t>1/29/20</a:t>
            </a:fld>
            <a:endParaRPr lang="en-US">
              <a:latin typeface="Segoe UI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endParaRPr lang="en-US">
              <a:latin typeface="Segoe U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300"/>
            </a:lvl1pPr>
          </a:lstStyle>
          <a:p>
            <a:fld id="{31EC98A2-63D6-435F-B64E-DDADF3E6E2B7}" type="slidenum">
              <a:rPr lang="en-US" smtClean="0">
                <a:latin typeface="Segoe UI"/>
              </a:rPr>
              <a:t>‹#›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22619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1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89479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2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68101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2.png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1.emf"/><Relationship Id="rId4" Type="http://schemas.openxmlformats.org/officeDocument/2006/relationships/tags" Target="../tags/tag8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image" Target="../media/image1.emf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image" Target="../media/image1.emf"/><Relationship Id="rId4" Type="http://schemas.openxmlformats.org/officeDocument/2006/relationships/tags" Target="../tags/tag11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1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2.xml"/><Relationship Id="rId11" Type="http://schemas.openxmlformats.org/officeDocument/2006/relationships/image" Target="../media/image9.png"/><Relationship Id="rId5" Type="http://schemas.openxmlformats.org/officeDocument/2006/relationships/tags" Target="../tags/tag131.xml"/><Relationship Id="rId10" Type="http://schemas.openxmlformats.org/officeDocument/2006/relationships/image" Target="../media/image8.png"/><Relationship Id="rId4" Type="http://schemas.openxmlformats.org/officeDocument/2006/relationships/tags" Target="../tags/tag130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3.png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image" Target="../media/image8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37.xml"/><Relationship Id="rId11" Type="http://schemas.openxmlformats.org/officeDocument/2006/relationships/image" Target="../media/image1.emf"/><Relationship Id="rId5" Type="http://schemas.openxmlformats.org/officeDocument/2006/relationships/tags" Target="../tags/tag136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35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9.pn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10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4.xml"/><Relationship Id="rId11" Type="http://schemas.openxmlformats.org/officeDocument/2006/relationships/image" Target="../media/image1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6.xml"/><Relationship Id="rId11" Type="http://schemas.openxmlformats.org/officeDocument/2006/relationships/image" Target="../media/image11.png"/><Relationship Id="rId5" Type="http://schemas.openxmlformats.org/officeDocument/2006/relationships/tags" Target="../tags/tag155.xml"/><Relationship Id="rId10" Type="http://schemas.openxmlformats.org/officeDocument/2006/relationships/image" Target="../media/image1.emf"/><Relationship Id="rId4" Type="http://schemas.openxmlformats.org/officeDocument/2006/relationships/tags" Target="../tags/tag154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1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2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0.xml"/><Relationship Id="rId11" Type="http://schemas.openxmlformats.org/officeDocument/2006/relationships/image" Target="../media/image1.emf"/><Relationship Id="rId5" Type="http://schemas.openxmlformats.org/officeDocument/2006/relationships/tags" Target="../tags/tag169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7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1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9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95.xml"/><Relationship Id="rId11" Type="http://schemas.openxmlformats.org/officeDocument/2006/relationships/image" Target="../media/image9.png"/><Relationship Id="rId5" Type="http://schemas.openxmlformats.org/officeDocument/2006/relationships/tags" Target="../tags/tag194.xml"/><Relationship Id="rId10" Type="http://schemas.openxmlformats.org/officeDocument/2006/relationships/image" Target="../media/image8.png"/><Relationship Id="rId4" Type="http://schemas.openxmlformats.org/officeDocument/2006/relationships/tags" Target="../tags/tag19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4.png"/><Relationship Id="rId5" Type="http://schemas.openxmlformats.org/officeDocument/2006/relationships/tags" Target="../tags/tag21.xml"/><Relationship Id="rId10" Type="http://schemas.openxmlformats.org/officeDocument/2006/relationships/image" Target="../media/image1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5.png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4.xml"/><Relationship Id="rId11" Type="http://schemas.openxmlformats.org/officeDocument/2006/relationships/image" Target="../media/image6.png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tags" Target="../tags/tag40.xml"/><Relationship Id="rId11" Type="http://schemas.openxmlformats.org/officeDocument/2006/relationships/image" Target="../media/image7.png"/><Relationship Id="rId5" Type="http://schemas.openxmlformats.org/officeDocument/2006/relationships/tags" Target="../tags/tag39.xml"/><Relationship Id="rId10" Type="http://schemas.openxmlformats.org/officeDocument/2006/relationships/image" Target="../media/image1.emf"/><Relationship Id="rId4" Type="http://schemas.openxmlformats.org/officeDocument/2006/relationships/tags" Target="../tags/tag3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tags" Target="../tags/tag4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701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15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780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5"/>
            <a:ext cx="8382000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311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23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559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22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555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24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2381585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792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20595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2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99510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473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5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46936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359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36419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42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0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639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68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2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52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Mark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608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3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366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000"/>
            <a:ext cx="2571405" cy="419108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5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636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833"/>
            <a:ext cx="2571405" cy="417442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833"/>
            <a:ext cx="2571405" cy="417442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57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87714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06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771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689306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770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9294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587889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78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pecialist S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578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11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Part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278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540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WW Industry &amp; Global Accou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368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3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ales Excell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954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6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159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9092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461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8266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4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542528" y="1524000"/>
            <a:ext cx="9887479" cy="457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>
            <p:custDataLst>
              <p:tags r:id="rId7"/>
            </p:custDataLst>
          </p:nvPr>
        </p:nvSpPr>
        <p:spPr>
          <a:xfrm>
            <a:off x="1" y="2"/>
            <a:ext cx="76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8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>
          <a:xfrm>
            <a:off x="3048008" y="6477885"/>
            <a:ext cx="8381999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1667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5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49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48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147.xml"/><Relationship Id="rId4" Type="http://schemas.openxmlformats.org/officeDocument/2006/relationships/slideLayout" Target="../slideLayouts/slideLayout26.xml"/><Relationship Id="rId9" Type="http://schemas.openxmlformats.org/officeDocument/2006/relationships/vmlDrawing" Target="../drawings/vmlDrawing23.vml"/><Relationship Id="rId14" Type="http://schemas.openxmlformats.org/officeDocument/2006/relationships/tags" Target="../tags/tag1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136610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3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27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68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747" r:id="rId22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47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8" r:id="rId2"/>
    <p:sldLayoutId id="2147483719" r:id="rId3"/>
    <p:sldLayoutId id="2147483722" r:id="rId4"/>
    <p:sldLayoutId id="2147483723" r:id="rId5"/>
    <p:sldLayoutId id="2147483726" r:id="rId6"/>
    <p:sldLayoutId id="2147483730" r:id="rId7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emf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35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9.png"/><Relationship Id="rId11" Type="http://schemas.openxmlformats.org/officeDocument/2006/relationships/image" Target="../media/image31.png"/><Relationship Id="rId5" Type="http://schemas.openxmlformats.org/officeDocument/2006/relationships/image" Target="../media/image32.png"/><Relationship Id="rId15" Type="http://schemas.openxmlformats.org/officeDocument/2006/relationships/image" Target="../media/image37.svg"/><Relationship Id="rId10" Type="http://schemas.openxmlformats.org/officeDocument/2006/relationships/image" Target="../media/image26.png"/><Relationship Id="rId4" Type="http://schemas.openxmlformats.org/officeDocument/2006/relationships/image" Target="../media/image23.png"/><Relationship Id="rId9" Type="http://schemas.openxmlformats.org/officeDocument/2006/relationships/image" Target="../media/image25.png"/><Relationship Id="rId1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" y="-92425"/>
            <a:ext cx="12192000" cy="646042"/>
          </a:xfrm>
        </p:spPr>
        <p:txBody>
          <a:bodyPr>
            <a:normAutofit fontScale="90000"/>
          </a:bodyPr>
          <a:lstStyle/>
          <a:p>
            <a:r>
              <a:rPr lang="en-US"/>
              <a:t>Modern Cloud Apps - Preferred Sol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74" y="3201029"/>
            <a:ext cx="457200" cy="457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636" y="2249343"/>
            <a:ext cx="457200" cy="457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160" y="4587398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867855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7331004" y="2432922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Lookup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orage Queue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29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1468" y="3893032"/>
            <a:ext cx="352849" cy="54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563" y="6097548"/>
            <a:ext cx="457200" cy="457200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594" y="2072232"/>
            <a:ext cx="457200" cy="457200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446" y="1417441"/>
            <a:ext cx="457200" cy="45720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220" y="6135711"/>
            <a:ext cx="457200" cy="457200"/>
          </a:xfrm>
          <a:prstGeom prst="rect">
            <a:avLst/>
          </a:prstGeom>
        </p:spPr>
      </p:pic>
      <p:sp>
        <p:nvSpPr>
          <p:cNvPr id="119" name="Rounded Rectangle 118"/>
          <p:cNvSpPr/>
          <p:nvPr/>
        </p:nvSpPr>
        <p:spPr>
          <a:xfrm>
            <a:off x="10171468" y="4541645"/>
            <a:ext cx="1831613" cy="1991956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0074555" y="998744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3</a:t>
            </a:r>
            <a:r>
              <a:rPr lang="en-US" sz="1600" baseline="300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d</a:t>
            </a:r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 Party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4168149" y="2177292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E-commerce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22" name="Rounded Rectangle 121"/>
          <p:cNvSpPr/>
          <p:nvPr/>
        </p:nvSpPr>
        <p:spPr>
          <a:xfrm>
            <a:off x="1329893" y="1385519"/>
            <a:ext cx="5086395" cy="3000597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556187" y="1768450"/>
            <a:ext cx="2284804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ILB App Service Environment</a:t>
            </a:r>
          </a:p>
        </p:txBody>
      </p:sp>
      <p:sp>
        <p:nvSpPr>
          <p:cNvPr id="124" name="Rounded Rectangle 123"/>
          <p:cNvSpPr/>
          <p:nvPr/>
        </p:nvSpPr>
        <p:spPr>
          <a:xfrm>
            <a:off x="3337009" y="1760389"/>
            <a:ext cx="2721533" cy="2316996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579" y="1867233"/>
            <a:ext cx="228600" cy="228600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2137240" y="1404183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VNET</a:t>
            </a:r>
          </a:p>
        </p:txBody>
      </p:sp>
      <p:sp>
        <p:nvSpPr>
          <p:cNvPr id="130" name="Rounded Rectangle 129"/>
          <p:cNvSpPr/>
          <p:nvPr/>
        </p:nvSpPr>
        <p:spPr>
          <a:xfrm>
            <a:off x="3158964" y="1626448"/>
            <a:ext cx="3058028" cy="2593693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345335" y="1312706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 B</a:t>
            </a:r>
          </a:p>
        </p:txBody>
      </p:sp>
      <p:sp>
        <p:nvSpPr>
          <p:cNvPr id="132" name="Rounded Rectangle 131"/>
          <p:cNvSpPr/>
          <p:nvPr/>
        </p:nvSpPr>
        <p:spPr>
          <a:xfrm>
            <a:off x="3677402" y="5233571"/>
            <a:ext cx="1939550" cy="808947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3522614" y="4814223"/>
            <a:ext cx="1939550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Compute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7159828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259019" y="3670290"/>
            <a:ext cx="820784" cy="83133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1: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rimary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7892" y="4743090"/>
            <a:ext cx="457200" cy="457200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10810088" y="4688788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Database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874465" y="5440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App</a:t>
            </a: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230" y="5413000"/>
            <a:ext cx="457200" cy="457200"/>
          </a:xfrm>
          <a:prstGeom prst="rect">
            <a:avLst/>
          </a:prstGeom>
        </p:spPr>
      </p:pic>
      <p:sp>
        <p:nvSpPr>
          <p:cNvPr id="140" name="Rounded Rectangle 139"/>
          <p:cNvSpPr/>
          <p:nvPr/>
        </p:nvSpPr>
        <p:spPr>
          <a:xfrm>
            <a:off x="10160458" y="1441796"/>
            <a:ext cx="1806667" cy="988738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406" y="1753885"/>
            <a:ext cx="457200" cy="457200"/>
          </a:xfrm>
          <a:prstGeom prst="rect">
            <a:avLst/>
          </a:prstGeom>
        </p:spPr>
      </p:pic>
      <p:sp>
        <p:nvSpPr>
          <p:cNvPr id="141" name="TextBox 140"/>
          <p:cNvSpPr txBox="1"/>
          <p:nvPr/>
        </p:nvSpPr>
        <p:spPr>
          <a:xfrm>
            <a:off x="10813849" y="1706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Payment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Gateway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10697295" y="4152170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On-premises</a:t>
            </a:r>
          </a:p>
        </p:txBody>
      </p:sp>
      <p:cxnSp>
        <p:nvCxnSpPr>
          <p:cNvPr id="143" name="Elbow Connector 142"/>
          <p:cNvCxnSpPr>
            <a:cxnSpLocks/>
            <a:stCxn id="124" idx="3"/>
            <a:endCxn id="93" idx="1"/>
          </p:cNvCxnSpPr>
          <p:nvPr/>
        </p:nvCxnSpPr>
        <p:spPr>
          <a:xfrm flipV="1">
            <a:off x="6058542" y="2300832"/>
            <a:ext cx="1366052" cy="618055"/>
          </a:xfrm>
          <a:prstGeom prst="bentConnector3">
            <a:avLst>
              <a:gd name="adj1" fmla="val 4433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13" idx="1"/>
            <a:endCxn id="93" idx="3"/>
          </p:cNvCxnSpPr>
          <p:nvPr/>
        </p:nvCxnSpPr>
        <p:spPr>
          <a:xfrm rot="10800000">
            <a:off x="7881794" y="2300832"/>
            <a:ext cx="2499436" cy="3340768"/>
          </a:xfrm>
          <a:prstGeom prst="bentConnector3">
            <a:avLst>
              <a:gd name="adj1" fmla="val 13416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cxnSpLocks/>
            <a:stCxn id="132" idx="3"/>
            <a:endCxn id="10" idx="1"/>
          </p:cNvCxnSpPr>
          <p:nvPr/>
        </p:nvCxnSpPr>
        <p:spPr>
          <a:xfrm flipV="1">
            <a:off x="5616952" y="4815998"/>
            <a:ext cx="1723208" cy="822047"/>
          </a:xfrm>
          <a:prstGeom prst="bentConnector3">
            <a:avLst>
              <a:gd name="adj1" fmla="val 74707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cxnSpLocks/>
            <a:stCxn id="124" idx="3"/>
            <a:endCxn id="8" idx="1"/>
          </p:cNvCxnSpPr>
          <p:nvPr/>
        </p:nvCxnSpPr>
        <p:spPr>
          <a:xfrm>
            <a:off x="6058542" y="2918887"/>
            <a:ext cx="1383332" cy="510742"/>
          </a:xfrm>
          <a:prstGeom prst="bentConnector3">
            <a:avLst>
              <a:gd name="adj1" fmla="val 4335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157"/>
          <p:cNvCxnSpPr>
            <a:cxnSpLocks/>
            <a:stCxn id="132" idx="3"/>
            <a:endCxn id="8" idx="1"/>
          </p:cNvCxnSpPr>
          <p:nvPr/>
        </p:nvCxnSpPr>
        <p:spPr>
          <a:xfrm flipV="1">
            <a:off x="5616952" y="3429629"/>
            <a:ext cx="1824922" cy="2208416"/>
          </a:xfrm>
          <a:prstGeom prst="bentConnector3">
            <a:avLst>
              <a:gd name="adj1" fmla="val 70414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cxnSpLocks/>
            <a:endCxn id="116" idx="1"/>
          </p:cNvCxnSpPr>
          <p:nvPr/>
        </p:nvCxnSpPr>
        <p:spPr>
          <a:xfrm>
            <a:off x="5953696" y="1977102"/>
            <a:ext cx="4331710" cy="53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" name="Picture 165"/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579" y="1491216"/>
            <a:ext cx="267441" cy="267441"/>
          </a:xfrm>
          <a:prstGeom prst="rect">
            <a:avLst/>
          </a:prstGeom>
        </p:spPr>
      </p:pic>
      <p:sp>
        <p:nvSpPr>
          <p:cNvPr id="167" name="TextBox 166"/>
          <p:cNvSpPr txBox="1"/>
          <p:nvPr/>
        </p:nvSpPr>
        <p:spPr>
          <a:xfrm>
            <a:off x="6146860" y="145660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3618680" y="6104191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 Per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plication Insight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026139" y="6102779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Web Test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DevOps</a:t>
            </a: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4" y="2852987"/>
            <a:ext cx="457200" cy="457200"/>
          </a:xfrm>
          <a:prstGeom prst="rect">
            <a:avLst/>
          </a:prstGeom>
        </p:spPr>
      </p:pic>
      <p:sp>
        <p:nvSpPr>
          <p:cNvPr id="176" name="TextBox 175"/>
          <p:cNvSpPr txBox="1"/>
          <p:nvPr/>
        </p:nvSpPr>
        <p:spPr>
          <a:xfrm>
            <a:off x="4181437" y="2780936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96689" y="4903493"/>
            <a:ext cx="935501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ardholder /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ustomer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26" y="454930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80" idx="3"/>
            <a:endCxn id="161" idx="1"/>
          </p:cNvCxnSpPr>
          <p:nvPr/>
        </p:nvCxnSpPr>
        <p:spPr>
          <a:xfrm>
            <a:off x="752626" y="4777907"/>
            <a:ext cx="911761" cy="459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8" name="TextBox 187"/>
          <p:cNvSpPr txBox="1"/>
          <p:nvPr/>
        </p:nvSpPr>
        <p:spPr>
          <a:xfrm>
            <a:off x="7679941" y="6078304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af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AD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89" name="Elbow Connector 188"/>
          <p:cNvCxnSpPr>
            <a:stCxn id="193" idx="1"/>
            <a:endCxn id="14" idx="0"/>
          </p:cNvCxnSpPr>
          <p:nvPr/>
        </p:nvCxnSpPr>
        <p:spPr>
          <a:xfrm rot="10800000">
            <a:off x="7484164" y="6097548"/>
            <a:ext cx="2914875" cy="38372"/>
          </a:xfrm>
          <a:prstGeom prst="bentConnector4">
            <a:avLst>
              <a:gd name="adj1" fmla="val 46079"/>
              <a:gd name="adj2" fmla="val 695747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10892273" y="593511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App</a:t>
            </a:r>
          </a:p>
        </p:txBody>
      </p:sp>
      <p:pic>
        <p:nvPicPr>
          <p:cNvPr id="193" name="Picture 19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9038" y="5907320"/>
            <a:ext cx="457200" cy="45720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4168878" y="338798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Offers Servic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I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780" y="3473829"/>
            <a:ext cx="481713" cy="481713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5042713" y="443016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MS Process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Logic App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0928" y="3200807"/>
            <a:ext cx="457200" cy="457200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8159980" y="3671167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2: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econdary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cxnSp>
        <p:nvCxnSpPr>
          <p:cNvPr id="11" name="Straight Arrow Connector 10"/>
          <p:cNvCxnSpPr>
            <a:stCxn id="8" idx="3"/>
            <a:endCxn id="64" idx="1"/>
          </p:cNvCxnSpPr>
          <p:nvPr/>
        </p:nvCxnSpPr>
        <p:spPr>
          <a:xfrm flipV="1">
            <a:off x="7899074" y="3429407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055" y="4587398"/>
            <a:ext cx="457200" cy="457200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8071147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Secondary)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 flipV="1">
            <a:off x="7777828" y="4815998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540" y="3202661"/>
            <a:ext cx="420624" cy="457200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9013086" y="3655999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ynaps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nalytic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82" y="2672547"/>
            <a:ext cx="457200" cy="457200"/>
          </a:xfrm>
          <a:prstGeom prst="rect">
            <a:avLst/>
          </a:prstGeom>
        </p:spPr>
      </p:pic>
      <p:cxnSp>
        <p:nvCxnSpPr>
          <p:cNvPr id="74" name="Elbow Connector 73"/>
          <p:cNvCxnSpPr>
            <a:stCxn id="8" idx="0"/>
          </p:cNvCxnSpPr>
          <p:nvPr/>
        </p:nvCxnSpPr>
        <p:spPr>
          <a:xfrm rot="5400000" flipH="1" flipV="1">
            <a:off x="8143799" y="2573042"/>
            <a:ext cx="154663" cy="11013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5" idx="3"/>
            <a:endCxn id="3" idx="3"/>
          </p:cNvCxnSpPr>
          <p:nvPr/>
        </p:nvCxnSpPr>
        <p:spPr>
          <a:xfrm>
            <a:off x="9211782" y="2901147"/>
            <a:ext cx="288382" cy="530114"/>
          </a:xfrm>
          <a:prstGeom prst="bentConnector3">
            <a:avLst>
              <a:gd name="adj1" fmla="val 17927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8910148" y="2570583"/>
            <a:ext cx="678334" cy="34065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Data Factor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11236" y="5195071"/>
            <a:ext cx="15480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Processing, Emai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399E207-3845-4925-AC95-5AC167F89483}"/>
              </a:ext>
            </a:extLst>
          </p:cNvPr>
          <p:cNvGrpSpPr/>
          <p:nvPr/>
        </p:nvGrpSpPr>
        <p:grpSpPr>
          <a:xfrm>
            <a:off x="4085449" y="5460016"/>
            <a:ext cx="904198" cy="537003"/>
            <a:chOff x="4016540" y="5460146"/>
            <a:chExt cx="904198" cy="53700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6689" y="5460146"/>
              <a:ext cx="390697" cy="390697"/>
            </a:xfrm>
            <a:prstGeom prst="rect">
              <a:avLst/>
            </a:prstGeom>
          </p:spPr>
        </p:pic>
        <p:sp>
          <p:nvSpPr>
            <p:cNvPr id="86" name="TextBox 85"/>
            <p:cNvSpPr txBox="1"/>
            <p:nvPr/>
          </p:nvSpPr>
          <p:spPr>
            <a:xfrm>
              <a:off x="4016540" y="5735724"/>
              <a:ext cx="904198" cy="261425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Function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A3769FA-CDFD-494A-A34E-7B6C34C81DC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565" y="4478165"/>
            <a:ext cx="481713" cy="481713"/>
          </a:xfrm>
          <a:prstGeom prst="rect">
            <a:avLst/>
          </a:prstGeom>
        </p:spPr>
      </p:pic>
      <p:pic>
        <p:nvPicPr>
          <p:cNvPr id="31" name="Picture 30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8214AF11-78B3-4838-86E1-7832C6D0876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083" y="4503946"/>
            <a:ext cx="481714" cy="481714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0E9B7FDA-DDF8-4B17-AE4E-AA6AD81E7D75}"/>
              </a:ext>
            </a:extLst>
          </p:cNvPr>
          <p:cNvSpPr txBox="1"/>
          <p:nvPr/>
        </p:nvSpPr>
        <p:spPr>
          <a:xfrm>
            <a:off x="2743950" y="4923122"/>
            <a:ext cx="547845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AD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B2C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97" name="Elbow Connector 142">
            <a:extLst>
              <a:ext uri="{FF2B5EF4-FFF2-40B4-BE49-F238E27FC236}">
                <a16:creationId xmlns:a16="http://schemas.microsoft.com/office/drawing/2014/main" id="{4AE9D6ED-EDC7-439D-A57C-A4C0652B3BB4}"/>
              </a:ext>
            </a:extLst>
          </p:cNvPr>
          <p:cNvCxnSpPr>
            <a:cxnSpLocks/>
            <a:stCxn id="31" idx="0"/>
            <a:endCxn id="9" idx="2"/>
          </p:cNvCxnSpPr>
          <p:nvPr/>
        </p:nvCxnSpPr>
        <p:spPr>
          <a:xfrm rot="5400000" flipH="1" flipV="1">
            <a:off x="2560387" y="3153097"/>
            <a:ext cx="1797403" cy="904296"/>
          </a:xfrm>
          <a:prstGeom prst="bentConnector3">
            <a:avLst>
              <a:gd name="adj1" fmla="val 9414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Picture 113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E4B7027C-CD32-48AE-9225-5D152C9212B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09" y="2603514"/>
            <a:ext cx="457200" cy="457200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4DAB1B9F-B6B9-47F2-941D-4B1E67105AAE}"/>
              </a:ext>
            </a:extLst>
          </p:cNvPr>
          <p:cNvSpPr txBox="1"/>
          <p:nvPr/>
        </p:nvSpPr>
        <p:spPr>
          <a:xfrm>
            <a:off x="1426869" y="2972671"/>
            <a:ext cx="1451681" cy="46226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 Gateway w/WAF</a:t>
            </a:r>
          </a:p>
          <a:p>
            <a:pPr algn="ctr"/>
            <a:r>
              <a:rPr lang="en-US" sz="1000" dirty="0">
                <a:latin typeface="Calibri"/>
                <a:ea typeface="Segoe UI" pitchFamily="34" charset="0"/>
                <a:cs typeface="Calibri"/>
              </a:rPr>
              <a:t>Secure Web Traffic</a:t>
            </a:r>
            <a:br>
              <a:rPr lang="en-US" sz="1000" dirty="0">
                <a:latin typeface="Calibri"/>
                <a:ea typeface="Segoe UI" pitchFamily="34" charset="0"/>
                <a:cs typeface="Calibri"/>
              </a:rPr>
            </a:br>
            <a:r>
              <a:rPr lang="en-US" sz="1000" dirty="0">
                <a:latin typeface="Calibri"/>
                <a:ea typeface="Segoe UI" pitchFamily="34" charset="0"/>
                <a:cs typeface="Calibri"/>
              </a:rPr>
              <a:t>(HTTP/S, Web Sockets)</a:t>
            </a:r>
          </a:p>
          <a:p>
            <a:pPr algn="ctr"/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17" name="Rounded Rectangle 129">
            <a:extLst>
              <a:ext uri="{FF2B5EF4-FFF2-40B4-BE49-F238E27FC236}">
                <a16:creationId xmlns:a16="http://schemas.microsoft.com/office/drawing/2014/main" id="{E71B5B07-AC4E-47F2-8305-F5A7BC1C2F58}"/>
              </a:ext>
            </a:extLst>
          </p:cNvPr>
          <p:cNvSpPr/>
          <p:nvPr/>
        </p:nvSpPr>
        <p:spPr>
          <a:xfrm>
            <a:off x="1416550" y="2492935"/>
            <a:ext cx="1459103" cy="1158222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3559A281-4CF1-4354-99B7-0B208772D299}"/>
              </a:ext>
            </a:extLst>
          </p:cNvPr>
          <p:cNvSpPr txBox="1"/>
          <p:nvPr/>
        </p:nvSpPr>
        <p:spPr>
          <a:xfrm>
            <a:off x="1984542" y="2133208"/>
            <a:ext cx="102881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A </a:t>
            </a:r>
          </a:p>
        </p:txBody>
      </p:sp>
      <p:cxnSp>
        <p:nvCxnSpPr>
          <p:cNvPr id="125" name="Elbow Connector 181">
            <a:extLst>
              <a:ext uri="{FF2B5EF4-FFF2-40B4-BE49-F238E27FC236}">
                <a16:creationId xmlns:a16="http://schemas.microsoft.com/office/drawing/2014/main" id="{C323FB05-BEE2-4E9C-9E47-ABAC6438B69E}"/>
              </a:ext>
            </a:extLst>
          </p:cNvPr>
          <p:cNvCxnSpPr>
            <a:cxnSpLocks/>
            <a:stCxn id="114" idx="3"/>
            <a:endCxn id="9" idx="1"/>
          </p:cNvCxnSpPr>
          <p:nvPr/>
        </p:nvCxnSpPr>
        <p:spPr>
          <a:xfrm flipV="1">
            <a:off x="2381309" y="2477943"/>
            <a:ext cx="1301327" cy="354171"/>
          </a:xfrm>
          <a:prstGeom prst="bentConnector3">
            <a:avLst>
              <a:gd name="adj1" fmla="val 44423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8" name="Picture 147">
            <a:extLst>
              <a:ext uri="{FF2B5EF4-FFF2-40B4-BE49-F238E27FC236}">
                <a16:creationId xmlns:a16="http://schemas.microsoft.com/office/drawing/2014/main" id="{F13B96E4-5ABC-4C4C-BC18-F903D1968F2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513" y="3606068"/>
            <a:ext cx="267441" cy="267441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0A70E977-B822-4378-9E3F-E61953C755B2}"/>
              </a:ext>
            </a:extLst>
          </p:cNvPr>
          <p:cNvSpPr txBox="1"/>
          <p:nvPr/>
        </p:nvSpPr>
        <p:spPr>
          <a:xfrm>
            <a:off x="1583083" y="365442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387" y="4541645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1447315" y="4942463"/>
            <a:ext cx="910648" cy="132287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routes to th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ropriat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as needed)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69" name="Elbow Connector 181">
            <a:extLst>
              <a:ext uri="{FF2B5EF4-FFF2-40B4-BE49-F238E27FC236}">
                <a16:creationId xmlns:a16="http://schemas.microsoft.com/office/drawing/2014/main" id="{FFDC7F39-D0F2-43EA-B9AE-C0AAFCD3D57D}"/>
              </a:ext>
            </a:extLst>
          </p:cNvPr>
          <p:cNvCxnSpPr>
            <a:cxnSpLocks/>
            <a:stCxn id="161" idx="1"/>
            <a:endCxn id="114" idx="1"/>
          </p:cNvCxnSpPr>
          <p:nvPr/>
        </p:nvCxnSpPr>
        <p:spPr>
          <a:xfrm rot="10800000" flipH="1">
            <a:off x="1664387" y="2832114"/>
            <a:ext cx="259722" cy="1950388"/>
          </a:xfrm>
          <a:prstGeom prst="bentConnector3">
            <a:avLst>
              <a:gd name="adj1" fmla="val -25567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0" name="Picture 89">
            <a:extLst>
              <a:ext uri="{FF2B5EF4-FFF2-40B4-BE49-F238E27FC236}">
                <a16:creationId xmlns:a16="http://schemas.microsoft.com/office/drawing/2014/main" id="{375B7F09-92CA-40F1-B9FC-70729234A0F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431112" y="6114008"/>
            <a:ext cx="485876" cy="469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827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1077059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384" y="26488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61" idx="1"/>
            <a:endCxn id="114" idx="0"/>
          </p:cNvCxnSpPr>
          <p:nvPr/>
        </p:nvCxnSpPr>
        <p:spPr>
          <a:xfrm rot="10800000" flipV="1">
            <a:off x="3955578" y="1336775"/>
            <a:ext cx="2373155" cy="99846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732" y="1095919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6111660" y="1496737"/>
            <a:ext cx="910648" cy="5257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A4740F-48C5-45F4-8EB8-B8633148E8D1}"/>
              </a:ext>
            </a:extLst>
          </p:cNvPr>
          <p:cNvGrpSpPr/>
          <p:nvPr/>
        </p:nvGrpSpPr>
        <p:grpSpPr>
          <a:xfrm>
            <a:off x="1373436" y="1279245"/>
            <a:ext cx="4669864" cy="5198965"/>
            <a:chOff x="1373436" y="1279245"/>
            <a:chExt cx="4635478" cy="5198965"/>
          </a:xfrm>
        </p:grpSpPr>
        <p:pic>
          <p:nvPicPr>
            <p:cNvPr id="99" name="Picture 9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22" name="Rounded Rectangle 121"/>
            <p:cNvSpPr/>
            <p:nvPr/>
          </p:nvSpPr>
          <p:spPr>
            <a:xfrm>
              <a:off x="1373436" y="1885897"/>
              <a:ext cx="4423791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6BD19C4-9E43-4D2B-9199-5125DA4887E2}"/>
                </a:ext>
              </a:extLst>
            </p:cNvPr>
            <p:cNvGrpSpPr/>
            <p:nvPr/>
          </p:nvGrpSpPr>
          <p:grpSpPr>
            <a:xfrm>
              <a:off x="2329026" y="3490397"/>
              <a:ext cx="3679888" cy="2907435"/>
              <a:chOff x="3202507" y="2906012"/>
              <a:chExt cx="3679888" cy="2907435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21" name="TextBox 120"/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24" name="Rounded Rectangle 123"/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30" name="Rounded Rectangle 129"/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6" name="Picture 165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67" name="TextBox 166"/>
              <p:cNvSpPr txBox="1"/>
              <p:nvPr/>
            </p:nvSpPr>
            <p:spPr>
              <a:xfrm>
                <a:off x="6190403" y="3049913"/>
                <a:ext cx="691992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5" name="Picture 17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6" name="TextBox 175"/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25" name="Elbow Connector 181">
              <a:extLst>
                <a:ext uri="{FF2B5EF4-FFF2-40B4-BE49-F238E27FC236}">
                  <a16:creationId xmlns:a16="http://schemas.microsoft.com/office/drawing/2014/main" id="{C323FB05-BEE2-4E9C-9E47-ABAC6438B69E}"/>
                </a:ext>
              </a:extLst>
            </p:cNvPr>
            <p:cNvCxnSpPr>
              <a:cxnSpLocks/>
              <a:stCxn id="114" idx="1"/>
              <a:endCxn id="9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9A59724-DDA1-4FD0-9CDC-CF0385769D83}"/>
                </a:ext>
              </a:extLst>
            </p:cNvPr>
            <p:cNvGrpSpPr/>
            <p:nvPr/>
          </p:nvGrpSpPr>
          <p:grpSpPr>
            <a:xfrm>
              <a:off x="3150368" y="1861507"/>
              <a:ext cx="1950273" cy="1972327"/>
              <a:chOff x="1410056" y="3723088"/>
              <a:chExt cx="1950273" cy="1972327"/>
            </a:xfrm>
          </p:grpSpPr>
          <p:pic>
            <p:nvPicPr>
              <p:cNvPr id="114" name="Picture 113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E4B7027C-CD32-48AE-9225-5D152C9212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4DAB1B9F-B6B9-47F2-941D-4B1E67105AAE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17" name="Rounded Rectangle 129">
                <a:extLst>
                  <a:ext uri="{FF2B5EF4-FFF2-40B4-BE49-F238E27FC236}">
                    <a16:creationId xmlns:a16="http://schemas.microsoft.com/office/drawing/2014/main" id="{E71B5B07-AC4E-47F2-8305-F5A7BC1C2F58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3559A281-4CF1-4354-99B7-0B208772D299}"/>
                  </a:ext>
                </a:extLst>
              </p:cNvPr>
              <p:cNvSpPr txBox="1"/>
              <p:nvPr/>
            </p:nvSpPr>
            <p:spPr>
              <a:xfrm>
                <a:off x="2196841" y="3723088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48" name="Picture 147">
                <a:extLst>
                  <a:ext uri="{FF2B5EF4-FFF2-40B4-BE49-F238E27FC236}">
                    <a16:creationId xmlns:a16="http://schemas.microsoft.com/office/drawing/2014/main" id="{F13B96E4-5ABC-4C4C-BC18-F903D1968F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0A70E977-B822-4378-9E3F-E61953C755B2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CEA0FAD-FB6B-48E5-93F8-26561B4A7B8C}"/>
                </a:ext>
              </a:extLst>
            </p:cNvPr>
            <p:cNvSpPr txBox="1"/>
            <p:nvPr/>
          </p:nvSpPr>
          <p:spPr>
            <a:xfrm>
              <a:off x="2258113" y="1326081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Region 1</a:t>
              </a:r>
            </a:p>
          </p:txBody>
        </p:sp>
        <p:pic>
          <p:nvPicPr>
            <p:cNvPr id="26" name="Graphic 25" descr="Earth Globe Americas">
              <a:extLst>
                <a:ext uri="{FF2B5EF4-FFF2-40B4-BE49-F238E27FC236}">
                  <a16:creationId xmlns:a16="http://schemas.microsoft.com/office/drawing/2014/main" id="{CEB77539-96A4-406B-A992-1FC72760E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536667" y="1279245"/>
              <a:ext cx="525756" cy="525756"/>
            </a:xfrm>
            <a:prstGeom prst="rect">
              <a:avLst/>
            </a:prstGeom>
          </p:spPr>
        </p:pic>
      </p:grpSp>
      <p:pic>
        <p:nvPicPr>
          <p:cNvPr id="29" name="Graphic 28" descr="Earth Globe Europe-Africa">
            <a:extLst>
              <a:ext uri="{FF2B5EF4-FFF2-40B4-BE49-F238E27FC236}">
                <a16:creationId xmlns:a16="http://schemas.microsoft.com/office/drawing/2014/main" id="{0C2874F2-C3C3-493F-89E3-3C1EF56D91C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178143" y="1282411"/>
            <a:ext cx="525757" cy="525757"/>
          </a:xfrm>
          <a:prstGeom prst="rect">
            <a:avLst/>
          </a:prstGeom>
        </p:spPr>
      </p:pic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104C630-2D2E-498C-9084-508B96C23BFF}"/>
              </a:ext>
            </a:extLst>
          </p:cNvPr>
          <p:cNvGrpSpPr/>
          <p:nvPr/>
        </p:nvGrpSpPr>
        <p:grpSpPr>
          <a:xfrm>
            <a:off x="7427404" y="1861507"/>
            <a:ext cx="4391947" cy="4613485"/>
            <a:chOff x="1373436" y="1864725"/>
            <a:chExt cx="4391947" cy="4613485"/>
          </a:xfrm>
        </p:grpSpPr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151E8268-0ACC-431E-A0BC-035590B9E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07" name="Rounded Rectangle 121">
              <a:extLst>
                <a:ext uri="{FF2B5EF4-FFF2-40B4-BE49-F238E27FC236}">
                  <a16:creationId xmlns:a16="http://schemas.microsoft.com/office/drawing/2014/main" id="{0B66CB98-4A8F-4A67-95DD-CA9E3088866B}"/>
                </a:ext>
              </a:extLst>
            </p:cNvPr>
            <p:cNvSpPr/>
            <p:nvPr/>
          </p:nvSpPr>
          <p:spPr>
            <a:xfrm>
              <a:off x="1373436" y="1885897"/>
              <a:ext cx="4391947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386BD4D4-C59D-4E19-AD8D-BB41245A9F0B}"/>
                </a:ext>
              </a:extLst>
            </p:cNvPr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DFA628-6936-4575-AADF-EE57F8E5164D}"/>
                </a:ext>
              </a:extLst>
            </p:cNvPr>
            <p:cNvGrpSpPr/>
            <p:nvPr/>
          </p:nvGrpSpPr>
          <p:grpSpPr>
            <a:xfrm>
              <a:off x="2329026" y="3490397"/>
              <a:ext cx="3436357" cy="2907435"/>
              <a:chOff x="3202507" y="2906012"/>
              <a:chExt cx="3436357" cy="2907435"/>
            </a:xfrm>
          </p:grpSpPr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581FC42A-CF8A-4712-B272-116F4EFB9F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B001591-164C-47F4-97E5-2E63645F482C}"/>
                  </a:ext>
                </a:extLst>
              </p:cNvPr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242B75E2-3FC1-409B-948E-5314E6D7F927}"/>
                  </a:ext>
                </a:extLst>
              </p:cNvPr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57" name="Rounded Rectangle 123">
                <a:extLst>
                  <a:ext uri="{FF2B5EF4-FFF2-40B4-BE49-F238E27FC236}">
                    <a16:creationId xmlns:a16="http://schemas.microsoft.com/office/drawing/2014/main" id="{49963508-9009-4835-BB51-C34DB891B853}"/>
                  </a:ext>
                </a:extLst>
              </p:cNvPr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FA0B7470-0480-4E92-B73A-D6CF622166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60" name="Rounded Rectangle 129">
                <a:extLst>
                  <a:ext uri="{FF2B5EF4-FFF2-40B4-BE49-F238E27FC236}">
                    <a16:creationId xmlns:a16="http://schemas.microsoft.com/office/drawing/2014/main" id="{9E2A5D31-E7D6-4735-9871-68AC016F9053}"/>
                  </a:ext>
                </a:extLst>
              </p:cNvPr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CAE5D432-C9FF-4688-BBFD-78D5E5B28288}"/>
                  </a:ext>
                </a:extLst>
              </p:cNvPr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A804D244-9CB9-425F-9EF2-E58D823FA3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BD8A172A-5063-4D73-ACA3-794C6491767A}"/>
                  </a:ext>
                </a:extLst>
              </p:cNvPr>
              <p:cNvSpPr txBox="1"/>
              <p:nvPr/>
            </p:nvSpPr>
            <p:spPr>
              <a:xfrm>
                <a:off x="6190403" y="3049913"/>
                <a:ext cx="448461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3" name="Picture 172">
                <a:extLst>
                  <a:ext uri="{FF2B5EF4-FFF2-40B4-BE49-F238E27FC236}">
                    <a16:creationId xmlns:a16="http://schemas.microsoft.com/office/drawing/2014/main" id="{1DA59353-CD0A-4B94-8AF6-28524E4EDD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6A2EEF52-2419-4B42-B81B-6E326B7F4AA3}"/>
                  </a:ext>
                </a:extLst>
              </p:cNvPr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CEA96CE9-F7C7-49C0-BD62-853AEF83810B}"/>
                  </a:ext>
                </a:extLst>
              </p:cNvPr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8" name="Picture 177">
                <a:extLst>
                  <a:ext uri="{FF2B5EF4-FFF2-40B4-BE49-F238E27FC236}">
                    <a16:creationId xmlns:a16="http://schemas.microsoft.com/office/drawing/2014/main" id="{FC1672AA-1357-4020-A4A2-C5F2BBFE3D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10" name="Elbow Connector 181">
              <a:extLst>
                <a:ext uri="{FF2B5EF4-FFF2-40B4-BE49-F238E27FC236}">
                  <a16:creationId xmlns:a16="http://schemas.microsoft.com/office/drawing/2014/main" id="{EB6BE8AE-C963-4E9F-A0D0-F1DCAA91D98F}"/>
                </a:ext>
              </a:extLst>
            </p:cNvPr>
            <p:cNvCxnSpPr>
              <a:cxnSpLocks/>
              <a:stCxn id="135" idx="1"/>
              <a:endCxn id="154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92D140C5-29BE-4777-B78A-FF6EF6C9694D}"/>
                </a:ext>
              </a:extLst>
            </p:cNvPr>
            <p:cNvGrpSpPr/>
            <p:nvPr/>
          </p:nvGrpSpPr>
          <p:grpSpPr>
            <a:xfrm>
              <a:off x="3150368" y="1864725"/>
              <a:ext cx="1950273" cy="1969109"/>
              <a:chOff x="1410056" y="3726306"/>
              <a:chExt cx="1950273" cy="1969109"/>
            </a:xfrm>
          </p:grpSpPr>
          <p:pic>
            <p:nvPicPr>
              <p:cNvPr id="135" name="Picture 134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91D36B90-92D9-4517-A374-74D5C265B7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733DBF5-4D8E-44F6-B4B6-1407057D658A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47" name="Rounded Rectangle 129">
                <a:extLst>
                  <a:ext uri="{FF2B5EF4-FFF2-40B4-BE49-F238E27FC236}">
                    <a16:creationId xmlns:a16="http://schemas.microsoft.com/office/drawing/2014/main" id="{CDC88908-E1A5-459A-9A4A-0C0F441335B3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43EDE06B-511E-4F1D-94AB-4C4E9EF950C3}"/>
                  </a:ext>
                </a:extLst>
              </p:cNvPr>
              <p:cNvSpPr txBox="1"/>
              <p:nvPr/>
            </p:nvSpPr>
            <p:spPr>
              <a:xfrm>
                <a:off x="2216268" y="3726306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52" name="Picture 151">
                <a:extLst>
                  <a:ext uri="{FF2B5EF4-FFF2-40B4-BE49-F238E27FC236}">
                    <a16:creationId xmlns:a16="http://schemas.microsoft.com/office/drawing/2014/main" id="{D90C54CF-02DF-4DDF-98D8-7BF43099E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09A5347A-119B-43CD-8EFF-BD87194A60F9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</p:grpSp>
      <p:cxnSp>
        <p:nvCxnSpPr>
          <p:cNvPr id="181" name="Elbow Connector 181">
            <a:extLst>
              <a:ext uri="{FF2B5EF4-FFF2-40B4-BE49-F238E27FC236}">
                <a16:creationId xmlns:a16="http://schemas.microsoft.com/office/drawing/2014/main" id="{EC92C9EC-7240-43AE-984E-C13C1C19AFD6}"/>
              </a:ext>
            </a:extLst>
          </p:cNvPr>
          <p:cNvCxnSpPr>
            <a:cxnSpLocks/>
            <a:stCxn id="161" idx="3"/>
            <a:endCxn id="135" idx="0"/>
          </p:cNvCxnSpPr>
          <p:nvPr/>
        </p:nvCxnSpPr>
        <p:spPr>
          <a:xfrm>
            <a:off x="6810446" y="1336776"/>
            <a:ext cx="3180086" cy="99524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57765D08-2796-4B3F-9916-69316B8A2C90}"/>
              </a:ext>
            </a:extLst>
          </p:cNvPr>
          <p:cNvSpPr txBox="1"/>
          <p:nvPr/>
        </p:nvSpPr>
        <p:spPr>
          <a:xfrm>
            <a:off x="10589931" y="1353584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gion 2</a:t>
            </a:r>
          </a:p>
        </p:txBody>
      </p:sp>
      <p:sp>
        <p:nvSpPr>
          <p:cNvPr id="83" name="Arrow: Left-Right 82">
            <a:extLst>
              <a:ext uri="{FF2B5EF4-FFF2-40B4-BE49-F238E27FC236}">
                <a16:creationId xmlns:a16="http://schemas.microsoft.com/office/drawing/2014/main" id="{62D881D6-AB93-42D4-ACA6-2A105519B876}"/>
              </a:ext>
            </a:extLst>
          </p:cNvPr>
          <p:cNvSpPr/>
          <p:nvPr/>
        </p:nvSpPr>
        <p:spPr>
          <a:xfrm>
            <a:off x="5830043" y="4178835"/>
            <a:ext cx="1597361" cy="525756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 err="1"/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C3CCEA33-EE4C-49E5-9A26-958A54AA6539}"/>
              </a:ext>
            </a:extLst>
          </p:cNvPr>
          <p:cNvSpPr txBox="1"/>
          <p:nvPr/>
        </p:nvSpPr>
        <p:spPr>
          <a:xfrm>
            <a:off x="6301873" y="3862416"/>
            <a:ext cx="640288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Peer or VPN</a:t>
            </a:r>
          </a:p>
        </p:txBody>
      </p:sp>
      <p:cxnSp>
        <p:nvCxnSpPr>
          <p:cNvPr id="185" name="Elbow Connector 181">
            <a:extLst>
              <a:ext uri="{FF2B5EF4-FFF2-40B4-BE49-F238E27FC236}">
                <a16:creationId xmlns:a16="http://schemas.microsoft.com/office/drawing/2014/main" id="{677071E0-7770-412E-B5D4-8CA6E5CBCB8F}"/>
              </a:ext>
            </a:extLst>
          </p:cNvPr>
          <p:cNvCxnSpPr>
            <a:cxnSpLocks/>
            <a:stCxn id="180" idx="2"/>
            <a:endCxn id="161" idx="0"/>
          </p:cNvCxnSpPr>
          <p:nvPr/>
        </p:nvCxnSpPr>
        <p:spPr>
          <a:xfrm rot="16200000" flipH="1">
            <a:off x="6381370" y="907700"/>
            <a:ext cx="373832" cy="260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6408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Dd3MX9qEms6Km6B43j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0qQ2Y0sEuftlP7H1Pk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hZrEq0NUivG.ZgK4Jw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gB8wxWskm0qRkwvZCy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lKIfYPOUOglp7cgWpo.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lHvdfBUy0r8SL9ySL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XDXMAN1UGMAZN_DJA1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S2ECEN5U6H1pnaztxi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o__EK7qUO5WP_T.mUR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ybpXJ1wEipbzgeBgz14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KxRRkvUO_E60NlsUc_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ArHj1sEmDT_.3jGTl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Qk2lGLaUWKX005a61Q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Qh4vK9ykWuRlPwHgZ3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5n_GaM40KcUIlAqlLwi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AyoaBCtEqUDhFizv8a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R9xDqBX06fXWYC84Vm_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Z8FYmGJUi6bsT9MKqj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qpM6uVEEa0u6IPfSRh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Ret46DlUqKi0eagotl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uOZs71E22QhJ6bbQk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jVEoPoT0uX1pLXkWtkA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phPjzjEu7nw4jHgzk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z1OvlRUaJLhAOPX92H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pRhugyKEuG21N3yYY0Q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iLTQEWakq8FfJ3.wyjO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JG3UhnkaDYjBw.vHn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.htUpLE0eQngqsT0T.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8zyMkr6UuAlkTsWlkTO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ItYPR3UKZhdKw4eBx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1ZXRkp40K9QOSeAEuN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9i_W0or0mpbuEUf4QNb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wCysMXqUua2Sw5yHYJ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byKcGsvkqS.8lx81xa9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4CSXTR0UqjsUmVIpS7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tuT6z_kerQX.dvFoCA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AgleQrlkyo17Yftq7pD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vFgNWIdEG8VHNqFgkWj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i8QEfV8EeqT77PL3EPD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2etA3hykmUidAG.sAGm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Z.I0pnCUSJ.7PjVmhV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XgoswIMkKYscYb2PUb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f6.yiBk.B6ENGx5oQ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M6zwznlkGyRYdzb15w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5atvB202wwDKQbAaf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qwCd17qk6EvKT6aSyX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p2ROCPrUqpTpr7mWlW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cZxa.askq.HBj7WPQq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LcjRK5dkCIVgI0x12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Y0urDPf0GsZSN2ZAAM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Qaq0jZNECWiyLlbMpy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ZCh4.AFkOZ_3WuxZa9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yFuv6c0WCHqU_aknB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LfEzXeXk23ojLYlQJF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V_rMWMU2Hsi9WGrTG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YY2yjwEubzenMosuY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VAkPZknUSluobPDfaj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QPerdekyR_aHYtfbt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Q9SgHozUGdF42ViiLP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P94TlFkeTF8ffQuMW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MBdj9ekWAWaC2TjU2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EQMEHPZkiWU.DlRLvF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KzAjEM4UGxv5H0WjKQ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umaKAFKkOw_muMbrhA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YTU7tC2UO0Es59XT7M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51gegxW0OVYIiU4KC7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wFxifOyUiF90sZdK1M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ClbKWWFEmTqLVlWOkl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9tQjJmkSEBDp9q0ci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DSW5RzEGXU6qgUjSg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PST9ZAXEukQFtj4Nyt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EvRhBRE66jTeBQ9kL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Spszxw1EayFPN5otMT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DuOUCUOE6s1jLDpXDG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.xo8JUk2mT3Q13JH2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1deYp6p0yM8mKM54sC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yJgzEeka.LZSKHmEuxQ"/>
</p:tagLst>
</file>

<file path=ppt/theme/theme1.xml><?xml version="1.0" encoding="utf-8"?>
<a:theme xmlns:a="http://schemas.openxmlformats.org/drawingml/2006/main" name="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2.xml><?xml version="1.0" encoding="utf-8"?>
<a:theme xmlns:a="http://schemas.openxmlformats.org/drawingml/2006/main" name="1_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F0B92DD208A429EDF1E879C18027B" ma:contentTypeVersion="1" ma:contentTypeDescription="Create a new document." ma:contentTypeScope="" ma:versionID="ce0f49f3eaaed11b2f37183efa000f18">
  <xsd:schema xmlns:xsd="http://www.w3.org/2001/XMLSchema" xmlns:xs="http://www.w3.org/2001/XMLSchema" xmlns:p="http://schemas.microsoft.com/office/2006/metadata/properties" xmlns:ns3="b1eac095-f4ed-4ca2-88ef-95980cb65d0f" targetNamespace="http://schemas.microsoft.com/office/2006/metadata/properties" ma:root="true" ma:fieldsID="7941c56e05cd1be91f7cbb4b9232f44a" ns3:_="">
    <xsd:import namespace="b1eac095-f4ed-4ca2-88ef-95980cb65d0f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ac095-f4ed-4ca2-88ef-95980cb65d0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67EEB37-FBC8-444E-88CF-DF8C59083097}">
  <ds:schemaRefs>
    <ds:schemaRef ds:uri="http://purl.org/dc/terms/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3A0A71B-49CA-45A4-9598-53D7A64299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301510A-9EC9-404A-818F-BE10941C09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761</TotalTime>
  <Words>262</Words>
  <Application>Microsoft Macintosh PowerPoint</Application>
  <PresentationFormat>Widescreen</PresentationFormat>
  <Paragraphs>107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egoe UI</vt:lpstr>
      <vt:lpstr>Segoe UI Light</vt:lpstr>
      <vt:lpstr>Wingdings</vt:lpstr>
      <vt:lpstr>FY13_EPG_Internal_Light</vt:lpstr>
      <vt:lpstr>1_FY13_EPG_Internal_Light</vt:lpstr>
      <vt:lpstr>think-cell Slide</vt:lpstr>
      <vt:lpstr>Modern Cloud Apps - Preferred Solu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 Delivering Growth</dc:title>
  <dc:creator>abhi.v.sharma@microsoft.com</dc:creator>
  <cp:keywords/>
  <dc:description/>
  <cp:lastModifiedBy>Chris Pietschmann</cp:lastModifiedBy>
  <cp:revision>852</cp:revision>
  <cp:lastPrinted>2014-02-12T23:30:55Z</cp:lastPrinted>
  <dcterms:created xsi:type="dcterms:W3CDTF">2012-11-21T17:57:49Z</dcterms:created>
  <dcterms:modified xsi:type="dcterms:W3CDTF">2020-01-29T14:3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5F0B92DD208A429EDF1E879C18027B</vt:lpwstr>
  </property>
  <property fmtid="{D5CDD505-2E9C-101B-9397-08002B2CF9AE}" pid="3" name="TaxKeyword">
    <vt:lpwstr/>
  </property>
  <property fmtid="{D5CDD505-2E9C-101B-9397-08002B2CF9AE}" pid="4" name="_dlc_policyId">
    <vt:lpwstr/>
  </property>
  <property fmtid="{D5CDD505-2E9C-101B-9397-08002B2CF9AE}" pid="5" name="Region">
    <vt:lpwstr/>
  </property>
  <property fmtid="{D5CDD505-2E9C-101B-9397-08002B2CF9AE}" pid="6" name="Confidentiality">
    <vt:lpwstr>21;#Microsoft confidential|461efa83-0283-486a-a8d5-943328f3693f</vt:lpwstr>
  </property>
  <property fmtid="{D5CDD505-2E9C-101B-9397-08002B2CF9AE}" pid="7" name="ItemType">
    <vt:lpwstr>10072;#readiness|0bad9107-5243-4424-8599-de9537dda9af</vt:lpwstr>
  </property>
  <property fmtid="{D5CDD505-2E9C-101B-9397-08002B2CF9AE}" pid="8" name="Industries">
    <vt:lpwstr/>
  </property>
  <property fmtid="{D5CDD505-2E9C-101B-9397-08002B2CF9AE}" pid="9" name="Roles">
    <vt:lpwstr/>
  </property>
  <property fmtid="{D5CDD505-2E9C-101B-9397-08002B2CF9AE}" pid="10" name="SMSGDomain">
    <vt:lpwstr>13172;#Server and Tools Business|6783548d-8609-4f97-be4a-4ca2616905a6</vt:lpwstr>
  </property>
  <property fmtid="{D5CDD505-2E9C-101B-9397-08002B2CF9AE}" pid="11" name="Competitors">
    <vt:lpwstr/>
  </property>
  <property fmtid="{D5CDD505-2E9C-101B-9397-08002B2CF9AE}" pid="12" name="ItemRetentionFormula">
    <vt:lpwstr/>
  </property>
  <property fmtid="{D5CDD505-2E9C-101B-9397-08002B2CF9AE}" pid="13" name="BusinessArchitecture">
    <vt:lpwstr>19548;#Windows Azure in Enterprise|84891928-61ad-4dbf-88e4-8b4469e6f307</vt:lpwstr>
  </property>
  <property fmtid="{D5CDD505-2E9C-101B-9397-08002B2CF9AE}" pid="14" name="SMSGTags">
    <vt:lpwstr/>
  </property>
  <property fmtid="{D5CDD505-2E9C-101B-9397-08002B2CF9AE}" pid="15" name="Products">
    <vt:lpwstr>10921;#Windows Azure|669a3112-5edf-444b-a003-630063601f07;#14002;#infrastructure as a service|4568a23e-4509-484a-b62d-10895ab6ad52</vt:lpwstr>
  </property>
  <property fmtid="{D5CDD505-2E9C-101B-9397-08002B2CF9AE}" pid="16" name="_dlc_DocIdItemGuid">
    <vt:lpwstr>c29c66b5-5b9d-4f56-8f42-4dbd1b320d3a</vt:lpwstr>
  </property>
  <property fmtid="{D5CDD505-2E9C-101B-9397-08002B2CF9AE}" pid="17" name="EnterpriseDomainTags">
    <vt:lpwstr/>
  </property>
  <property fmtid="{D5CDD505-2E9C-101B-9397-08002B2CF9AE}" pid="18" name="Partners">
    <vt:lpwstr/>
  </property>
  <property fmtid="{D5CDD505-2E9C-101B-9397-08002B2CF9AE}" pid="19" name="Segments">
    <vt:lpwstr/>
  </property>
  <property fmtid="{D5CDD505-2E9C-101B-9397-08002B2CF9AE}" pid="20" name="ActivitiesAndPrograms">
    <vt:lpwstr/>
  </property>
  <property fmtid="{D5CDD505-2E9C-101B-9397-08002B2CF9AE}" pid="21" name="WorkflowChangePath">
    <vt:lpwstr>d3765c0c-e2b5-4307-934b-d5d862e93ab3,3;d3765c0c-e2b5-4307-934b-d5d862e93ab3,7;d3765c0c-e2b5-4307-934b-d5d862e93ab3,17;d3765c0c-e2b5-4307-934b-d5d862e93ab3,21;d3765c0c-e2b5-4307-934b-d5d862e93ab3,27;d3765c0c-e2b5-4307-934b-d5d862e93ab3,30;d3765c0c-e2b5-430</vt:lpwstr>
  </property>
  <property fmtid="{D5CDD505-2E9C-101B-9397-08002B2CF9AE}" pid="22" name="Groups">
    <vt:lpwstr>18422;#Windows Azure Marketing|0958c357-5252-473f-8b4e-42f27525a99d</vt:lpwstr>
  </property>
  <property fmtid="{D5CDD505-2E9C-101B-9397-08002B2CF9AE}" pid="23" name="Topics">
    <vt:lpwstr/>
  </property>
  <property fmtid="{D5CDD505-2E9C-101B-9397-08002B2CF9AE}" pid="24" name="EnterpriseDomainTagsTaxHTField0">
    <vt:lpwstr/>
  </property>
  <property fmtid="{D5CDD505-2E9C-101B-9397-08002B2CF9AE}" pid="25" name="messageframeworktype">
    <vt:lpwstr/>
  </property>
  <property fmtid="{D5CDD505-2E9C-101B-9397-08002B2CF9AE}" pid="26" name="LastUpdatedByBatchTagging">
    <vt:bool>false</vt:bool>
  </property>
  <property fmtid="{D5CDD505-2E9C-101B-9397-08002B2CF9AE}" pid="27" name="Languages">
    <vt:lpwstr>10056;#English|cb91f272-ce4d-4a7e-9bbf-78b58e3d188d</vt:lpwstr>
  </property>
  <property fmtid="{D5CDD505-2E9C-101B-9397-08002B2CF9AE}" pid="28" name="_docset_NoMedatataSyncRequired">
    <vt:lpwstr>False</vt:lpwstr>
  </property>
  <property fmtid="{D5CDD505-2E9C-101B-9397-08002B2CF9AE}" pid="29" name="SMSGTagsTaxHTField0">
    <vt:lpwstr/>
  </property>
  <property fmtid="{D5CDD505-2E9C-101B-9397-08002B2CF9AE}" pid="30" name="Audiences">
    <vt:lpwstr/>
  </property>
  <property fmtid="{D5CDD505-2E9C-101B-9397-08002B2CF9AE}" pid="31" name="Order">
    <vt:r8>20112100</vt:r8>
  </property>
  <property fmtid="{D5CDD505-2E9C-101B-9397-08002B2CF9AE}" pid="32" name="IsMyDocuments">
    <vt:bool>true</vt:bool>
  </property>
  <property fmtid="{D5CDD505-2E9C-101B-9397-08002B2CF9AE}" pid="33" name="Topic Area">
    <vt:lpwstr/>
  </property>
</Properties>
</file>